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B0604020202020204" charset="0"/>
      <p:regular r:id="rId30"/>
      <p:bold r:id="rId31"/>
      <p:italic r:id="rId32"/>
      <p:boldItalic r:id="rId33"/>
    </p:embeddedFont>
    <p:embeddedFont>
      <p:font typeface="Barlow Light" panose="020B0604020202020204" charset="0"/>
      <p:regular r:id="rId34"/>
      <p:bold r:id="rId35"/>
      <p:italic r:id="rId36"/>
      <p:boldItalic r:id="rId37"/>
    </p:embeddedFont>
    <p:embeddedFont>
      <p:font typeface="Barlow SemiBold" panose="020B060402020202020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B0604020202020204" charset="0"/>
      <p:regular r:id="rId50"/>
      <p:bold r:id="rId51"/>
      <p:italic r:id="rId52"/>
      <p:boldItalic r:id="rId53"/>
    </p:embeddedFont>
    <p:embeddedFont>
      <p:font typeface="Raleway" panose="020B0604020202020204" charset="0"/>
      <p:regular r:id="rId54"/>
      <p:bold r:id="rId55"/>
      <p:italic r:id="rId56"/>
      <p:boldItalic r:id="rId57"/>
    </p:embeddedFont>
    <p:embeddedFont>
      <p:font typeface="Raleway Thin" panose="020B0604020202020204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26" autoAdjust="0"/>
  </p:normalViewPr>
  <p:slideViewPr>
    <p:cSldViewPr snapToGrid="0">
      <p:cViewPr varScale="1">
        <p:scale>
          <a:sx n="113" d="100"/>
          <a:sy n="113" d="100"/>
        </p:scale>
        <p:origin x="58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2962656" y="184946"/>
            <a:ext cx="5992923" cy="4716238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Six relational tables in the Elephant SQL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92AB5B6-2C8E-4E56-8A8C-E160D2E3D314}"/>
              </a:ext>
            </a:extLst>
          </p:cNvPr>
          <p:cNvGrpSpPr/>
          <p:nvPr/>
        </p:nvGrpSpPr>
        <p:grpSpPr>
          <a:xfrm>
            <a:off x="1034584" y="350195"/>
            <a:ext cx="8433880" cy="4286555"/>
            <a:chOff x="1177059" y="350195"/>
            <a:chExt cx="8433880" cy="4286555"/>
          </a:xfrm>
        </p:grpSpPr>
        <p:grpSp>
          <p:nvGrpSpPr>
            <p:cNvPr id="9" name="Google Shape;2020;p33">
              <a:extLst>
                <a:ext uri="{FF2B5EF4-FFF2-40B4-BE49-F238E27FC236}">
                  <a16:creationId xmlns:a16="http://schemas.microsoft.com/office/drawing/2014/main" id="{D3D64C54-7F90-4380-AF4C-113FF61E1943}"/>
                </a:ext>
              </a:extLst>
            </p:cNvPr>
            <p:cNvGrpSpPr/>
            <p:nvPr/>
          </p:nvGrpSpPr>
          <p:grpSpPr>
            <a:xfrm>
              <a:off x="1177059" y="350195"/>
              <a:ext cx="8433880" cy="4286555"/>
              <a:chOff x="1177450" y="241631"/>
              <a:chExt cx="6173152" cy="3616776"/>
            </a:xfrm>
          </p:grpSpPr>
          <p:sp>
            <p:nvSpPr>
              <p:cNvPr id="10" name="Google Shape;2021;p33">
                <a:extLst>
                  <a:ext uri="{FF2B5EF4-FFF2-40B4-BE49-F238E27FC236}">
                    <a16:creationId xmlns:a16="http://schemas.microsoft.com/office/drawing/2014/main" id="{CFF7ED41-45D9-4499-8E1C-83BDC454DE3A}"/>
                  </a:ext>
                </a:extLst>
              </p:cNvPr>
              <p:cNvSpPr/>
              <p:nvPr/>
            </p:nvSpPr>
            <p:spPr>
              <a:xfrm>
                <a:off x="1682275" y="241631"/>
                <a:ext cx="5161606" cy="3454973"/>
              </a:xfrm>
              <a:custGeom>
                <a:avLst/>
                <a:gdLst/>
                <a:ahLst/>
                <a:cxnLst/>
                <a:rect l="l" t="t" r="r" b="b"/>
                <a:pathLst>
                  <a:path w="5161606" h="3454973" extrusionOk="0">
                    <a:moveTo>
                      <a:pt x="4992053" y="0"/>
                    </a:moveTo>
                    <a:lnTo>
                      <a:pt x="170498" y="0"/>
                    </a:lnTo>
                    <a:cubicBezTo>
                      <a:pt x="76200" y="0"/>
                      <a:pt x="0" y="76143"/>
                      <a:pt x="0" y="170369"/>
                    </a:cubicBezTo>
                    <a:lnTo>
                      <a:pt x="0" y="3396915"/>
                    </a:lnTo>
                    <a:cubicBezTo>
                      <a:pt x="0" y="3429275"/>
                      <a:pt x="26670" y="3454973"/>
                      <a:pt x="58102" y="3454973"/>
                    </a:cubicBezTo>
                    <a:lnTo>
                      <a:pt x="5103495" y="3454973"/>
                    </a:lnTo>
                    <a:cubicBezTo>
                      <a:pt x="5135880" y="3454973"/>
                      <a:pt x="5161598" y="3428324"/>
                      <a:pt x="5161598" y="3396915"/>
                    </a:cubicBezTo>
                    <a:lnTo>
                      <a:pt x="5161598" y="170369"/>
                    </a:lnTo>
                    <a:cubicBezTo>
                      <a:pt x="5162550" y="76143"/>
                      <a:pt x="5086350" y="0"/>
                      <a:pt x="4992053" y="0"/>
                    </a:cubicBezTo>
                    <a:close/>
                    <a:moveTo>
                      <a:pt x="4981575" y="3245581"/>
                    </a:moveTo>
                    <a:lnTo>
                      <a:pt x="190500" y="3245581"/>
                    </a:lnTo>
                    <a:lnTo>
                      <a:pt x="190500" y="199874"/>
                    </a:lnTo>
                    <a:lnTo>
                      <a:pt x="4981575" y="199874"/>
                    </a:lnTo>
                    <a:lnTo>
                      <a:pt x="4981575" y="3245581"/>
                    </a:lnTo>
                    <a:close/>
                  </a:path>
                </a:pathLst>
              </a:custGeom>
              <a:gradFill>
                <a:gsLst>
                  <a:gs pos="0">
                    <a:schemeClr val="lt1"/>
                  </a:gs>
                  <a:gs pos="50000">
                    <a:schemeClr val="lt1"/>
                  </a:gs>
                  <a:gs pos="100000">
                    <a:schemeClr val="lt2"/>
                  </a:gs>
                </a:gsLst>
                <a:lin ang="16198662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2022;p33">
                <a:extLst>
                  <a:ext uri="{FF2B5EF4-FFF2-40B4-BE49-F238E27FC236}">
                    <a16:creationId xmlns:a16="http://schemas.microsoft.com/office/drawing/2014/main" id="{0EFF325E-FBF2-4B65-8FD6-3AD25F8DD2D6}"/>
                  </a:ext>
                </a:extLst>
              </p:cNvPr>
              <p:cNvSpPr/>
              <p:nvPr/>
            </p:nvSpPr>
            <p:spPr>
              <a:xfrm>
                <a:off x="1177450" y="3763229"/>
                <a:ext cx="6173152" cy="95178"/>
              </a:xfrm>
              <a:custGeom>
                <a:avLst/>
                <a:gdLst/>
                <a:ahLst/>
                <a:cxnLst/>
                <a:rect l="l" t="t" r="r" b="b"/>
                <a:pathLst>
                  <a:path w="6173152" h="95178" extrusionOk="0">
                    <a:moveTo>
                      <a:pt x="0" y="0"/>
                    </a:moveTo>
                    <a:cubicBezTo>
                      <a:pt x="0" y="0"/>
                      <a:pt x="129540" y="95178"/>
                      <a:pt x="450533" y="95178"/>
                    </a:cubicBezTo>
                    <a:lnTo>
                      <a:pt x="5817870" y="95178"/>
                    </a:lnTo>
                    <a:cubicBezTo>
                      <a:pt x="5948363" y="95178"/>
                      <a:pt x="6173153" y="0"/>
                      <a:pt x="61731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D6E0"/>
              </a:solidFill>
              <a:ln>
                <a:noFill/>
              </a:ln>
              <a:effectLst>
                <a:outerShdw blurRad="100013" dist="28575" dir="5400000" algn="bl" rotWithShape="0">
                  <a:srgbClr val="38226D">
                    <a:alpha val="3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2023;p33">
                <a:extLst>
                  <a:ext uri="{FF2B5EF4-FFF2-40B4-BE49-F238E27FC236}">
                    <a16:creationId xmlns:a16="http://schemas.microsoft.com/office/drawing/2014/main" id="{02A21D05-4096-470E-A575-068EABC933F8}"/>
                  </a:ext>
                </a:extLst>
              </p:cNvPr>
              <p:cNvSpPr/>
              <p:nvPr/>
            </p:nvSpPr>
            <p:spPr>
              <a:xfrm>
                <a:off x="1177450" y="3687086"/>
                <a:ext cx="6172200" cy="76142"/>
              </a:xfrm>
              <a:custGeom>
                <a:avLst/>
                <a:gdLst/>
                <a:ahLst/>
                <a:cxnLst/>
                <a:rect l="l" t="t" r="r" b="b"/>
                <a:pathLst>
                  <a:path w="6172200" h="76142" extrusionOk="0">
                    <a:moveTo>
                      <a:pt x="0" y="76143"/>
                    </a:moveTo>
                    <a:lnTo>
                      <a:pt x="6172200" y="76143"/>
                    </a:lnTo>
                    <a:lnTo>
                      <a:pt x="61722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2024;p33">
                <a:extLst>
                  <a:ext uri="{FF2B5EF4-FFF2-40B4-BE49-F238E27FC236}">
                    <a16:creationId xmlns:a16="http://schemas.microsoft.com/office/drawing/2014/main" id="{5417F13B-3E36-41F7-A97C-ADB31016094F}"/>
                  </a:ext>
                </a:extLst>
              </p:cNvPr>
              <p:cNvSpPr/>
              <p:nvPr/>
            </p:nvSpPr>
            <p:spPr>
              <a:xfrm>
                <a:off x="3806350" y="3687086"/>
                <a:ext cx="903922" cy="47589"/>
              </a:xfrm>
              <a:custGeom>
                <a:avLst/>
                <a:gdLst/>
                <a:ahLst/>
                <a:cxnLst/>
                <a:rect l="l" t="t" r="r" b="b"/>
                <a:pathLst>
                  <a:path w="903922" h="47589" extrusionOk="0">
                    <a:moveTo>
                      <a:pt x="0" y="0"/>
                    </a:moveTo>
                    <a:cubicBezTo>
                      <a:pt x="0" y="0"/>
                      <a:pt x="26670" y="47589"/>
                      <a:pt x="53340" y="47589"/>
                    </a:cubicBezTo>
                    <a:lnTo>
                      <a:pt x="850582" y="47589"/>
                    </a:lnTo>
                    <a:cubicBezTo>
                      <a:pt x="877253" y="47589"/>
                      <a:pt x="903922" y="0"/>
                      <a:pt x="90392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363BE6-6A7D-4FB7-BE66-E701DF3C5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08436" y="587398"/>
              <a:ext cx="6596097" cy="3611222"/>
            </a:xfrm>
            <a:prstGeom prst="rect">
              <a:avLst/>
            </a:prstGeom>
          </p:spPr>
        </p:pic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the job postings at 1000 postings per job titl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5901122" y="3247650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Proxy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VPN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Random </a:t>
            </a:r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  <a:sym typeface="Barlow Light"/>
              </a:rPr>
              <a:t>time dela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</TotalTime>
  <Words>1403</Words>
  <Application>Microsoft Office PowerPoint</Application>
  <PresentationFormat>On-screen Show (16:9)</PresentationFormat>
  <Paragraphs>214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Courier New</vt:lpstr>
      <vt:lpstr>Calibri</vt:lpstr>
      <vt:lpstr>Barlow Light</vt:lpstr>
      <vt:lpstr>Wingdings</vt:lpstr>
      <vt:lpstr>Barlow</vt:lpstr>
      <vt:lpstr>Arial</vt:lpstr>
      <vt:lpstr>Raleway Thin</vt:lpstr>
      <vt:lpstr>Georgia</vt:lpstr>
      <vt:lpstr>Raleway</vt:lpstr>
      <vt:lpstr>Montserrat</vt:lpstr>
      <vt:lpstr>Barlow SemiBold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Screenshot of the dashboard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Chunyi Lai</cp:lastModifiedBy>
  <cp:revision>14</cp:revision>
  <dcterms:modified xsi:type="dcterms:W3CDTF">2021-02-18T03:32:30Z</dcterms:modified>
</cp:coreProperties>
</file>